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80" r:id="rId4"/>
    <p:sldId id="292" r:id="rId5"/>
    <p:sldId id="294" r:id="rId6"/>
    <p:sldId id="285" r:id="rId7"/>
    <p:sldId id="286" r:id="rId8"/>
    <p:sldId id="290" r:id="rId9"/>
    <p:sldId id="288" r:id="rId10"/>
    <p:sldId id="278" r:id="rId11"/>
  </p:sldIdLst>
  <p:sldSz cx="12192000" cy="6858000"/>
  <p:notesSz cx="6858000" cy="9144000"/>
  <p:custDataLst>
    <p:tags r:id="rId1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72" d="100"/>
          <a:sy n="72" d="100"/>
        </p:scale>
        <p:origin x="618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E5F2-8D8C-4589-BC9E-4DA8D6859D4E}" type="datetimeFigureOut">
              <a:rPr lang="ru-RU" smtClean="0"/>
              <a:t>09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07374-08D7-4E24-A604-DE68BF5C4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38397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E5F2-8D8C-4589-BC9E-4DA8D6859D4E}" type="datetimeFigureOut">
              <a:rPr lang="ru-RU" smtClean="0"/>
              <a:t>09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07374-08D7-4E24-A604-DE68BF5C4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52355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E5F2-8D8C-4589-BC9E-4DA8D6859D4E}" type="datetimeFigureOut">
              <a:rPr lang="ru-RU" smtClean="0"/>
              <a:t>09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07374-08D7-4E24-A604-DE68BF5C4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455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E5F2-8D8C-4589-BC9E-4DA8D6859D4E}" type="datetimeFigureOut">
              <a:rPr lang="ru-RU" smtClean="0"/>
              <a:t>09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07374-08D7-4E24-A604-DE68BF5C4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8448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E5F2-8D8C-4589-BC9E-4DA8D6859D4E}" type="datetimeFigureOut">
              <a:rPr lang="ru-RU" smtClean="0"/>
              <a:t>09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07374-08D7-4E24-A604-DE68BF5C4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44895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E5F2-8D8C-4589-BC9E-4DA8D6859D4E}" type="datetimeFigureOut">
              <a:rPr lang="ru-RU" smtClean="0"/>
              <a:t>09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07374-08D7-4E24-A604-DE68BF5C4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26501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E5F2-8D8C-4589-BC9E-4DA8D6859D4E}" type="datetimeFigureOut">
              <a:rPr lang="ru-RU" smtClean="0"/>
              <a:t>09.09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07374-08D7-4E24-A604-DE68BF5C4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01664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E5F2-8D8C-4589-BC9E-4DA8D6859D4E}" type="datetimeFigureOut">
              <a:rPr lang="ru-RU" smtClean="0"/>
              <a:t>09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07374-08D7-4E24-A604-DE68BF5C4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2643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E5F2-8D8C-4589-BC9E-4DA8D6859D4E}" type="datetimeFigureOut">
              <a:rPr lang="ru-RU" smtClean="0"/>
              <a:t>09.09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07374-08D7-4E24-A604-DE68BF5C4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7700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E5F2-8D8C-4589-BC9E-4DA8D6859D4E}" type="datetimeFigureOut">
              <a:rPr lang="ru-RU" smtClean="0"/>
              <a:t>09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07374-08D7-4E24-A604-DE68BF5C4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73815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EE5F2-8D8C-4589-BC9E-4DA8D6859D4E}" type="datetimeFigureOut">
              <a:rPr lang="ru-RU" smtClean="0"/>
              <a:t>09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07374-08D7-4E24-A604-DE68BF5C4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15210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3EE5F2-8D8C-4589-BC9E-4DA8D6859D4E}" type="datetimeFigureOut">
              <a:rPr lang="ru-RU" smtClean="0"/>
              <a:t>09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F07374-08D7-4E24-A604-DE68BF5C4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5500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5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2.png"/><Relationship Id="rId2" Type="http://schemas.openxmlformats.org/officeDocument/2006/relationships/tags" Target="../tags/tag2.xml"/><Relationship Id="rId16" Type="http://schemas.openxmlformats.org/officeDocument/2006/relationships/image" Target="../media/image4.jpg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3.emf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7.png"/><Relationship Id="rId3" Type="http://schemas.openxmlformats.org/officeDocument/2006/relationships/tags" Target="../tags/tag14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6.jpeg"/><Relationship Id="rId2" Type="http://schemas.openxmlformats.org/officeDocument/2006/relationships/tags" Target="../tags/tag13.xml"/><Relationship Id="rId16" Type="http://schemas.openxmlformats.org/officeDocument/2006/relationships/image" Target="../media/image10.png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image" Target="../media/image2.png"/><Relationship Id="rId5" Type="http://schemas.openxmlformats.org/officeDocument/2006/relationships/tags" Target="../tags/tag16.xml"/><Relationship Id="rId15" Type="http://schemas.openxmlformats.org/officeDocument/2006/relationships/image" Target="../media/image9.jpeg"/><Relationship Id="rId10" Type="http://schemas.openxmlformats.org/officeDocument/2006/relationships/image" Target="../media/image4.jpg"/><Relationship Id="rId4" Type="http://schemas.openxmlformats.org/officeDocument/2006/relationships/tags" Target="../tags/tag15.xml"/><Relationship Id="rId9" Type="http://schemas.openxmlformats.org/officeDocument/2006/relationships/image" Target="../media/image3.emf"/><Relationship Id="rId1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12.png"/><Relationship Id="rId3" Type="http://schemas.openxmlformats.org/officeDocument/2006/relationships/tags" Target="../tags/tag19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1.jpeg"/><Relationship Id="rId2" Type="http://schemas.openxmlformats.org/officeDocument/2006/relationships/tags" Target="../tags/tag18.xml"/><Relationship Id="rId16" Type="http://schemas.openxmlformats.org/officeDocument/2006/relationships/image" Target="../media/image15.jpeg"/><Relationship Id="rId1" Type="http://schemas.openxmlformats.org/officeDocument/2006/relationships/vmlDrawing" Target="../drawings/vmlDrawing3.vml"/><Relationship Id="rId6" Type="http://schemas.openxmlformats.org/officeDocument/2006/relationships/tags" Target="../tags/tag22.xml"/><Relationship Id="rId11" Type="http://schemas.openxmlformats.org/officeDocument/2006/relationships/image" Target="../media/image2.png"/><Relationship Id="rId5" Type="http://schemas.openxmlformats.org/officeDocument/2006/relationships/tags" Target="../tags/tag21.xml"/><Relationship Id="rId15" Type="http://schemas.openxmlformats.org/officeDocument/2006/relationships/image" Target="../media/image14.jpeg"/><Relationship Id="rId10" Type="http://schemas.openxmlformats.org/officeDocument/2006/relationships/image" Target="../media/image4.jpg"/><Relationship Id="rId4" Type="http://schemas.openxmlformats.org/officeDocument/2006/relationships/tags" Target="../tags/tag20.xml"/><Relationship Id="rId9" Type="http://schemas.openxmlformats.org/officeDocument/2006/relationships/image" Target="../media/image3.emf"/><Relationship Id="rId1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17.png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6.jpeg"/><Relationship Id="rId2" Type="http://schemas.openxmlformats.org/officeDocument/2006/relationships/tags" Target="../tags/tag23.xml"/><Relationship Id="rId16" Type="http://schemas.openxmlformats.org/officeDocument/2006/relationships/image" Target="../media/image20.jpeg"/><Relationship Id="rId1" Type="http://schemas.openxmlformats.org/officeDocument/2006/relationships/vmlDrawing" Target="../drawings/vmlDrawing4.vml"/><Relationship Id="rId6" Type="http://schemas.openxmlformats.org/officeDocument/2006/relationships/tags" Target="../tags/tag27.xml"/><Relationship Id="rId11" Type="http://schemas.openxmlformats.org/officeDocument/2006/relationships/image" Target="../media/image2.png"/><Relationship Id="rId5" Type="http://schemas.openxmlformats.org/officeDocument/2006/relationships/tags" Target="../tags/tag26.xml"/><Relationship Id="rId15" Type="http://schemas.openxmlformats.org/officeDocument/2006/relationships/image" Target="../media/image19.png"/><Relationship Id="rId10" Type="http://schemas.openxmlformats.org/officeDocument/2006/relationships/image" Target="../media/image4.jpg"/><Relationship Id="rId4" Type="http://schemas.openxmlformats.org/officeDocument/2006/relationships/tags" Target="../tags/tag25.xml"/><Relationship Id="rId9" Type="http://schemas.openxmlformats.org/officeDocument/2006/relationships/image" Target="../media/image3.emf"/><Relationship Id="rId1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9.xml"/><Relationship Id="rId7" Type="http://schemas.openxmlformats.org/officeDocument/2006/relationships/oleObject" Target="../embeddings/oleObject3.bin"/><Relationship Id="rId2" Type="http://schemas.openxmlformats.org/officeDocument/2006/relationships/tags" Target="../tags/tag28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1.xml"/><Relationship Id="rId10" Type="http://schemas.openxmlformats.org/officeDocument/2006/relationships/image" Target="../media/image2.png"/><Relationship Id="rId4" Type="http://schemas.openxmlformats.org/officeDocument/2006/relationships/tags" Target="../tags/tag30.xml"/><Relationship Id="rId9" Type="http://schemas.openxmlformats.org/officeDocument/2006/relationships/image" Target="../media/image4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image" Target="../media/image2.png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image" Target="../media/image4.jpg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6" Type="http://schemas.openxmlformats.org/officeDocument/2006/relationships/tags" Target="../tags/tag36.xml"/><Relationship Id="rId11" Type="http://schemas.openxmlformats.org/officeDocument/2006/relationships/image" Target="../media/image3.emf"/><Relationship Id="rId5" Type="http://schemas.openxmlformats.org/officeDocument/2006/relationships/tags" Target="../tags/tag35.xml"/><Relationship Id="rId10" Type="http://schemas.openxmlformats.org/officeDocument/2006/relationships/oleObject" Target="../embeddings/oleObject4.bin"/><Relationship Id="rId4" Type="http://schemas.openxmlformats.org/officeDocument/2006/relationships/tags" Target="../tags/tag34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image" Target="../media/image2.png"/><Relationship Id="rId17" Type="http://schemas.openxmlformats.org/officeDocument/2006/relationships/image" Target="../media/image26.png"/><Relationship Id="rId2" Type="http://schemas.openxmlformats.org/officeDocument/2006/relationships/tags" Target="../tags/tag39.xml"/><Relationship Id="rId16" Type="http://schemas.openxmlformats.org/officeDocument/2006/relationships/image" Target="../media/image25.png"/><Relationship Id="rId20" Type="http://schemas.openxmlformats.org/officeDocument/2006/relationships/image" Target="../media/image29.jpeg"/><Relationship Id="rId1" Type="http://schemas.openxmlformats.org/officeDocument/2006/relationships/vmlDrawing" Target="../drawings/vmlDrawing7.vml"/><Relationship Id="rId6" Type="http://schemas.openxmlformats.org/officeDocument/2006/relationships/tags" Target="../tags/tag43.xml"/><Relationship Id="rId11" Type="http://schemas.openxmlformats.org/officeDocument/2006/relationships/image" Target="../media/image4.jpg"/><Relationship Id="rId5" Type="http://schemas.openxmlformats.org/officeDocument/2006/relationships/tags" Target="../tags/tag42.xml"/><Relationship Id="rId15" Type="http://schemas.openxmlformats.org/officeDocument/2006/relationships/image" Target="../media/image24.png"/><Relationship Id="rId10" Type="http://schemas.openxmlformats.org/officeDocument/2006/relationships/image" Target="../media/image3.emf"/><Relationship Id="rId19" Type="http://schemas.openxmlformats.org/officeDocument/2006/relationships/image" Target="../media/image28.png"/><Relationship Id="rId4" Type="http://schemas.openxmlformats.org/officeDocument/2006/relationships/tags" Target="../tags/tag41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image" Target="../media/image2.png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image" Target="../media/image4.jpg"/><Relationship Id="rId2" Type="http://schemas.openxmlformats.org/officeDocument/2006/relationships/tags" Target="../tags/tag45.xml"/><Relationship Id="rId1" Type="http://schemas.openxmlformats.org/officeDocument/2006/relationships/vmlDrawing" Target="../drawings/vmlDrawing8.vml"/><Relationship Id="rId6" Type="http://schemas.openxmlformats.org/officeDocument/2006/relationships/tags" Target="../tags/tag49.xml"/><Relationship Id="rId11" Type="http://schemas.openxmlformats.org/officeDocument/2006/relationships/image" Target="../media/image3.emf"/><Relationship Id="rId5" Type="http://schemas.openxmlformats.org/officeDocument/2006/relationships/tags" Target="../tags/tag48.xml"/><Relationship Id="rId10" Type="http://schemas.openxmlformats.org/officeDocument/2006/relationships/oleObject" Target="../embeddings/oleObject5.bin"/><Relationship Id="rId4" Type="http://schemas.openxmlformats.org/officeDocument/2006/relationships/tags" Target="../tags/tag47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3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552" y="380029"/>
            <a:ext cx="1909764" cy="742334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418817" y="2522584"/>
            <a:ext cx="9531455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800" b="1" dirty="0">
                <a:solidFill>
                  <a:schemeClr val="bg1"/>
                </a:solidFill>
                <a:cs typeface="Segoe UI" panose="020B0502040204020203" pitchFamily="34" charset="0"/>
              </a:rPr>
              <a:t>                   Импортозамещение</a:t>
            </a:r>
          </a:p>
          <a:p>
            <a:r>
              <a:rPr lang="ru-RU" sz="4800" b="1" dirty="0">
                <a:solidFill>
                  <a:schemeClr val="bg1"/>
                </a:solidFill>
                <a:cs typeface="Segoe UI" panose="020B0502040204020203" pitchFamily="34" charset="0"/>
              </a:rPr>
              <a:t>             тенденции и  проблематика</a:t>
            </a:r>
          </a:p>
        </p:txBody>
      </p:sp>
    </p:spTree>
    <p:extLst>
      <p:ext uri="{BB962C8B-B14F-4D97-AF65-F5344CB8AC3E}">
        <p14:creationId xmlns:p14="http://schemas.microsoft.com/office/powerpoint/2010/main" val="42942868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4263393" y="2487245"/>
            <a:ext cx="3643947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ЛАГОДАРЮ</a:t>
            </a:r>
          </a:p>
          <a:p>
            <a:pPr algn="ctr"/>
            <a:r>
              <a:rPr lang="ru-RU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 ВНИМАНИЕ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636330" y="3918648"/>
            <a:ext cx="898071" cy="5996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82769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1975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  <p:custDataLst>
              <p:tags r:id="rId4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916005"/>
          </a:xfrm>
        </p:spPr>
      </p:pic>
      <p:pic>
        <p:nvPicPr>
          <p:cNvPr id="6" name="Рисунок 5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68" y="233072"/>
            <a:ext cx="1460727" cy="567791"/>
          </a:xfrm>
          <a:prstGeom prst="rect">
            <a:avLst/>
          </a:prstGeom>
        </p:spPr>
      </p:pic>
      <p:sp>
        <p:nvSpPr>
          <p:cNvPr id="8" name="Прямоугольник 7"/>
          <p:cNvSpPr/>
          <p:nvPr>
            <p:custDataLst>
              <p:tags r:id="rId6"/>
            </p:custDataLst>
          </p:nvPr>
        </p:nvSpPr>
        <p:spPr>
          <a:xfrm>
            <a:off x="529805" y="1103531"/>
            <a:ext cx="45057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Новая реальность российского государства</a:t>
            </a:r>
            <a:endParaRPr lang="ru-RU" sz="28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9" name="Прямоугольник 8"/>
          <p:cNvSpPr/>
          <p:nvPr>
            <p:custDataLst>
              <p:tags r:id="rId7"/>
            </p:custDataLst>
          </p:nvPr>
        </p:nvSpPr>
        <p:spPr>
          <a:xfrm>
            <a:off x="632763" y="1692441"/>
            <a:ext cx="1086666" cy="5996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026" name="Picture 2" descr="C:\Users\ESPIRE\Desktop\Картинки\1,1.jp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00" r="10970"/>
          <a:stretch/>
        </p:blipFill>
        <p:spPr bwMode="auto">
          <a:xfrm>
            <a:off x="6485860" y="988783"/>
            <a:ext cx="5705159" cy="5916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/>
          <p:cNvSpPr/>
          <p:nvPr>
            <p:custDataLst>
              <p:tags r:id="rId9"/>
            </p:custDataLst>
          </p:nvPr>
        </p:nvSpPr>
        <p:spPr>
          <a:xfrm>
            <a:off x="0" y="2615590"/>
            <a:ext cx="6475227" cy="871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Прямоугольник 16"/>
          <p:cNvSpPr/>
          <p:nvPr>
            <p:custDataLst>
              <p:tags r:id="rId10"/>
            </p:custDataLst>
          </p:nvPr>
        </p:nvSpPr>
        <p:spPr>
          <a:xfrm>
            <a:off x="0" y="4427184"/>
            <a:ext cx="6475227" cy="612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угольник 17"/>
          <p:cNvSpPr/>
          <p:nvPr>
            <p:custDataLst>
              <p:tags r:id="rId11"/>
            </p:custDataLst>
          </p:nvPr>
        </p:nvSpPr>
        <p:spPr>
          <a:xfrm>
            <a:off x="0" y="5954233"/>
            <a:ext cx="6475227" cy="9509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Прямоугольник 9"/>
          <p:cNvSpPr/>
          <p:nvPr>
            <p:custDataLst>
              <p:tags r:id="rId12"/>
            </p:custDataLst>
          </p:nvPr>
        </p:nvSpPr>
        <p:spPr>
          <a:xfrm>
            <a:off x="182397" y="1791543"/>
            <a:ext cx="5708039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188-ФЗ -&gt; изменения в 44-ФЗ (запрет иностранных товаров для гос. и муниципальных нужд)	</a:t>
            </a:r>
          </a:p>
          <a:p>
            <a:pPr algn="just"/>
            <a:r>
              <a:rPr lang="ru-RU" dirty="0"/>
              <a:t>188-ФЗ -&gt; изменения в 149-ФЗ (создание Реестра отечественного ПО)</a:t>
            </a:r>
          </a:p>
          <a:p>
            <a:pPr algn="just"/>
            <a:r>
              <a:rPr lang="ru-RU" dirty="0"/>
              <a:t>ПП №1236 : порядок ведения Реестра, запрет* закупки иностранного ПО для гос. и муниципальных нужд</a:t>
            </a:r>
          </a:p>
          <a:p>
            <a:pPr algn="just"/>
            <a:r>
              <a:rPr lang="ru-RU" dirty="0"/>
              <a:t>РП 1588-р:</a:t>
            </a:r>
          </a:p>
          <a:p>
            <a:pPr algn="just"/>
            <a:r>
              <a:rPr lang="ru-RU" dirty="0"/>
              <a:t>-   Переход </a:t>
            </a:r>
            <a:r>
              <a:rPr lang="ru-RU" dirty="0" err="1"/>
              <a:t>ФОИВов</a:t>
            </a:r>
            <a:r>
              <a:rPr lang="ru-RU" dirty="0"/>
              <a:t> и ГВФ на </a:t>
            </a:r>
            <a:r>
              <a:rPr lang="ru-RU" dirty="0" err="1"/>
              <a:t>отчественное</a:t>
            </a:r>
            <a:r>
              <a:rPr lang="ru-RU" dirty="0"/>
              <a:t> офисное ПО</a:t>
            </a:r>
          </a:p>
          <a:p>
            <a:pPr algn="just"/>
            <a:r>
              <a:rPr lang="ru-RU" dirty="0"/>
              <a:t>- Переход </a:t>
            </a:r>
            <a:r>
              <a:rPr lang="ru-RU" dirty="0" err="1"/>
              <a:t>ОИВов</a:t>
            </a:r>
            <a:r>
              <a:rPr lang="ru-RU" dirty="0"/>
              <a:t> субъектов РФ, органов местного </a:t>
            </a:r>
            <a:r>
              <a:rPr lang="ru-RU" dirty="0" err="1"/>
              <a:t>самоуправления,государственных</a:t>
            </a:r>
            <a:r>
              <a:rPr lang="ru-RU" dirty="0"/>
              <a:t> корпораций и компаний, государственных казенных и бюджетных учреждений, акционерных обществ с государственным</a:t>
            </a:r>
          </a:p>
          <a:p>
            <a:pPr algn="just"/>
            <a:r>
              <a:rPr lang="ru-RU" dirty="0"/>
              <a:t>участием на отечественное ПО : до 2020 года</a:t>
            </a:r>
          </a:p>
          <a:p>
            <a:pPr algn="just"/>
            <a:r>
              <a:rPr lang="ru-RU" dirty="0"/>
              <a:t>Приказ </a:t>
            </a:r>
            <a:r>
              <a:rPr lang="ru-RU" dirty="0" err="1"/>
              <a:t>Минкомвязи</a:t>
            </a:r>
            <a:r>
              <a:rPr lang="ru-RU" dirty="0"/>
              <a:t> 334 от 29.06.2017</a:t>
            </a:r>
            <a:endParaRPr lang="ru-RU" sz="2000" dirty="0"/>
          </a:p>
          <a:p>
            <a:endParaRPr lang="ru-RU" sz="2800" dirty="0">
              <a:latin typeface="Segoe UI Semibold" panose="020B07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41141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633979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  <p:custDataLst>
              <p:tags r:id="rId4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916005"/>
          </a:xfrm>
        </p:spPr>
      </p:pic>
      <p:pic>
        <p:nvPicPr>
          <p:cNvPr id="6" name="Рисунок 5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68" y="233072"/>
            <a:ext cx="1460727" cy="567791"/>
          </a:xfrm>
          <a:prstGeom prst="rect">
            <a:avLst/>
          </a:prstGeom>
        </p:spPr>
      </p:pic>
      <p:sp>
        <p:nvSpPr>
          <p:cNvPr id="22" name="Прямоугольник 21"/>
          <p:cNvSpPr/>
          <p:nvPr>
            <p:custDataLst>
              <p:tags r:id="rId6"/>
            </p:custDataLst>
          </p:nvPr>
        </p:nvSpPr>
        <p:spPr>
          <a:xfrm>
            <a:off x="632763" y="1692441"/>
            <a:ext cx="1086666" cy="5996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Номер слайда 3">
            <a:extLst>
              <a:ext uri="{FF2B5EF4-FFF2-40B4-BE49-F238E27FC236}">
                <a16:creationId xmlns:a16="http://schemas.microsoft.com/office/drawing/2014/main" id="{3D64676C-3457-4E7A-AFCC-CC8C19DE9F29}"/>
              </a:ext>
            </a:extLst>
          </p:cNvPr>
          <p:cNvSpPr txBox="1">
            <a:spLocks/>
          </p:cNvSpPr>
          <p:nvPr/>
        </p:nvSpPr>
        <p:spPr>
          <a:xfrm>
            <a:off x="8702745" y="618646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E5CB3401-FB04-4583-AF06-0CFBFB6D7B2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BB637675-0989-49E6-A301-22A92271632E}"/>
              </a:ext>
            </a:extLst>
          </p:cNvPr>
          <p:cNvSpPr txBox="1">
            <a:spLocks/>
          </p:cNvSpPr>
          <p:nvPr/>
        </p:nvSpPr>
        <p:spPr>
          <a:xfrm>
            <a:off x="6447304" y="2678489"/>
            <a:ext cx="4638278" cy="29807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ПО разработанное под конкретную ОС</a:t>
            </a:r>
          </a:p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Удобство продуктов</a:t>
            </a:r>
          </a:p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Много специалистов, курсов, баз знаний.</a:t>
            </a:r>
          </a:p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Функциональность</a:t>
            </a:r>
          </a:p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ложно подобрать замену</a:t>
            </a:r>
          </a:p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Быстрые сроки внедрения и реализации проектов.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125" name="Picture 29" descr="https://assets.ominto.com/automation/93b79a17-364d-44b3-8604-d01c8039e7fb.jpg">
            <a:extLst>
              <a:ext uri="{FF2B5EF4-FFF2-40B4-BE49-F238E27FC236}">
                <a16:creationId xmlns:a16="http://schemas.microsoft.com/office/drawing/2014/main" id="{34F600CD-1370-4B58-9516-690DDD526C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331" y="2145675"/>
            <a:ext cx="1981200" cy="990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9" name="Picture 33" descr="https://www.nixp.ru/uploads/news/fullsize_image/adce1c0216891d9c2c1e9a3413d0fef8e6bcf4f5.png">
            <a:extLst>
              <a:ext uri="{FF2B5EF4-FFF2-40B4-BE49-F238E27FC236}">
                <a16:creationId xmlns:a16="http://schemas.microsoft.com/office/drawing/2014/main" id="{D0F41F72-511F-4E83-8D1E-5D2D2F733C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332" y="3244878"/>
            <a:ext cx="1981200" cy="1378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40" name="Picture 44" descr="https://www.htguk.com/wp-content/uploads/2015/11/CitrixLogo.jpg">
            <a:extLst>
              <a:ext uri="{FF2B5EF4-FFF2-40B4-BE49-F238E27FC236}">
                <a16:creationId xmlns:a16="http://schemas.microsoft.com/office/drawing/2014/main" id="{98E96D81-39CF-4205-B8AB-721FC852A4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447" y="4805906"/>
            <a:ext cx="1954084" cy="911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42" name="Picture 46" descr="https://x-seven.kz/wp-content/uploads/2017/08/vmware-logo-2.jpg">
            <a:extLst>
              <a:ext uri="{FF2B5EF4-FFF2-40B4-BE49-F238E27FC236}">
                <a16:creationId xmlns:a16="http://schemas.microsoft.com/office/drawing/2014/main" id="{BB91C6B7-2825-4D08-8894-FACF424542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7374" y="2149639"/>
            <a:ext cx="2799501" cy="980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44" name="Picture 48" descr="SAP 2011 logo.svg">
            <a:extLst>
              <a:ext uri="{FF2B5EF4-FFF2-40B4-BE49-F238E27FC236}">
                <a16:creationId xmlns:a16="http://schemas.microsoft.com/office/drawing/2014/main" id="{9BA1C0A3-045C-4F97-82F2-DC557833A5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7375" y="3244878"/>
            <a:ext cx="2799500" cy="1427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23FCF74-C9A9-4DA9-A4F7-0EA4CA200544}"/>
              </a:ext>
            </a:extLst>
          </p:cNvPr>
          <p:cNvSpPr txBox="1"/>
          <p:nvPr/>
        </p:nvSpPr>
        <p:spPr>
          <a:xfrm>
            <a:off x="1719429" y="1362075"/>
            <a:ext cx="771717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/>
              <a:t>              Иностранное программное обеспечение</a:t>
            </a:r>
          </a:p>
        </p:txBody>
      </p:sp>
    </p:spTree>
    <p:extLst>
      <p:ext uri="{BB962C8B-B14F-4D97-AF65-F5344CB8AC3E}">
        <p14:creationId xmlns:p14="http://schemas.microsoft.com/office/powerpoint/2010/main" val="24795274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  <p:custDataLst>
              <p:tags r:id="rId4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916005"/>
          </a:xfrm>
        </p:spPr>
      </p:pic>
      <p:pic>
        <p:nvPicPr>
          <p:cNvPr id="6" name="Рисунок 5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68" y="233072"/>
            <a:ext cx="1460727" cy="567791"/>
          </a:xfrm>
          <a:prstGeom prst="rect">
            <a:avLst/>
          </a:prstGeom>
        </p:spPr>
      </p:pic>
      <p:sp>
        <p:nvSpPr>
          <p:cNvPr id="22" name="Прямоугольник 21"/>
          <p:cNvSpPr/>
          <p:nvPr>
            <p:custDataLst>
              <p:tags r:id="rId6"/>
            </p:custDataLst>
          </p:nvPr>
        </p:nvSpPr>
        <p:spPr>
          <a:xfrm>
            <a:off x="632763" y="1692441"/>
            <a:ext cx="1086666" cy="5996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Номер слайда 3">
            <a:extLst>
              <a:ext uri="{FF2B5EF4-FFF2-40B4-BE49-F238E27FC236}">
                <a16:creationId xmlns:a16="http://schemas.microsoft.com/office/drawing/2014/main" id="{3D64676C-3457-4E7A-AFCC-CC8C19DE9F29}"/>
              </a:ext>
            </a:extLst>
          </p:cNvPr>
          <p:cNvSpPr txBox="1">
            <a:spLocks/>
          </p:cNvSpPr>
          <p:nvPr/>
        </p:nvSpPr>
        <p:spPr>
          <a:xfrm>
            <a:off x="8702745" y="618646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E5CB3401-FB04-4583-AF06-0CFBFB6D7B2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BB637675-0989-49E6-A301-22A92271632E}"/>
              </a:ext>
            </a:extLst>
          </p:cNvPr>
          <p:cNvSpPr txBox="1">
            <a:spLocks/>
          </p:cNvSpPr>
          <p:nvPr/>
        </p:nvSpPr>
        <p:spPr>
          <a:xfrm>
            <a:off x="6447304" y="2678489"/>
            <a:ext cx="4638278" cy="29807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Зависимость от иностранных компонентов и производителей</a:t>
            </a:r>
          </a:p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тоимость готовых решений</a:t>
            </a:r>
          </a:p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граничение по использованию</a:t>
            </a:r>
          </a:p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С и прикладное ПО</a:t>
            </a:r>
          </a:p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«Новые продукты» на рынке</a:t>
            </a:r>
          </a:p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Долгие сроки внедрения и реализации проектов.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3FCF74-C9A9-4DA9-A4F7-0EA4CA200544}"/>
              </a:ext>
            </a:extLst>
          </p:cNvPr>
          <p:cNvSpPr txBox="1"/>
          <p:nvPr/>
        </p:nvSpPr>
        <p:spPr>
          <a:xfrm>
            <a:off x="1719429" y="1362075"/>
            <a:ext cx="61551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/>
              <a:t>                Отечественное оборудование</a:t>
            </a:r>
          </a:p>
        </p:txBody>
      </p:sp>
      <p:pic>
        <p:nvPicPr>
          <p:cNvPr id="17410" name="Picture 2" descr="http://tmregister.ru/base/NEW/5238/523828/1.jpg">
            <a:extLst>
              <a:ext uri="{FF2B5EF4-FFF2-40B4-BE49-F238E27FC236}">
                <a16:creationId xmlns:a16="http://schemas.microsoft.com/office/drawing/2014/main" id="{7C1248A1-177C-4832-BF0E-A546A86FAF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041" y="2023408"/>
            <a:ext cx="2390775" cy="1410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2" name="Picture 4" descr="https://alchetron.com/cdn/mcst-9e3225a5-ca7c-4f86-90a2-d87940852f8-resize-750.png">
            <a:extLst>
              <a:ext uri="{FF2B5EF4-FFF2-40B4-BE49-F238E27FC236}">
                <a16:creationId xmlns:a16="http://schemas.microsoft.com/office/drawing/2014/main" id="{51FCB2D5-BE5B-410A-B240-9856F5B22E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841701"/>
            <a:ext cx="3811712" cy="1270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4" name="Picture 6" descr="http://elvees.selec.ru/data/elvees/img_1_200807021645.pjpeg">
            <a:extLst>
              <a:ext uri="{FF2B5EF4-FFF2-40B4-BE49-F238E27FC236}">
                <a16:creationId xmlns:a16="http://schemas.microsoft.com/office/drawing/2014/main" id="{947E49DB-170C-47E2-9444-BE0F0A29B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931" y="3907754"/>
            <a:ext cx="3695700" cy="616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http://confspb.ru/uploads/images/Eco_2017/%D0%BB%D0%BE%D0%B3%D0%BE%D1%82%D0%B8%D0%BF%20%D0%B1%D0%B5%D0%BB%D1%8B%D0%B9%20%D0%B2%20%D1%81%D0%B8%D0%BD%D0%B5%D0%BC%20%20%D0%BA%D1%80%D1%83%D0%B3%D0%B5%20RGB.JPG">
            <a:extLst>
              <a:ext uri="{FF2B5EF4-FFF2-40B4-BE49-F238E27FC236}">
                <a16:creationId xmlns:a16="http://schemas.microsoft.com/office/drawing/2014/main" id="{576C459D-356E-4EF3-BF27-9EBD932850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9656" y="4841701"/>
            <a:ext cx="1175319" cy="1175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9" name="Picture 11" descr="https://optochip.org/docum/store/f/d/66/1499089704-6-12251.jpg">
            <a:extLst>
              <a:ext uri="{FF2B5EF4-FFF2-40B4-BE49-F238E27FC236}">
                <a16:creationId xmlns:a16="http://schemas.microsoft.com/office/drawing/2014/main" id="{0F1DA56E-1C4B-4B25-AE98-8D6377752A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5375" y="2033726"/>
            <a:ext cx="1919600" cy="1399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75106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  <p:custDataLst>
              <p:tags r:id="rId4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632" y="0"/>
            <a:ext cx="12187435" cy="6913415"/>
          </a:xfrm>
        </p:spPr>
      </p:pic>
      <p:pic>
        <p:nvPicPr>
          <p:cNvPr id="6" name="Рисунок 5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68" y="233072"/>
            <a:ext cx="1460727" cy="567791"/>
          </a:xfrm>
          <a:prstGeom prst="rect">
            <a:avLst/>
          </a:prstGeom>
        </p:spPr>
      </p:pic>
      <p:sp>
        <p:nvSpPr>
          <p:cNvPr id="22" name="Прямоугольник 21"/>
          <p:cNvSpPr/>
          <p:nvPr>
            <p:custDataLst>
              <p:tags r:id="rId6"/>
            </p:custDataLst>
          </p:nvPr>
        </p:nvSpPr>
        <p:spPr>
          <a:xfrm>
            <a:off x="632763" y="1692441"/>
            <a:ext cx="1086666" cy="5996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Номер слайда 3">
            <a:extLst>
              <a:ext uri="{FF2B5EF4-FFF2-40B4-BE49-F238E27FC236}">
                <a16:creationId xmlns:a16="http://schemas.microsoft.com/office/drawing/2014/main" id="{3D64676C-3457-4E7A-AFCC-CC8C19DE9F29}"/>
              </a:ext>
            </a:extLst>
          </p:cNvPr>
          <p:cNvSpPr txBox="1">
            <a:spLocks/>
          </p:cNvSpPr>
          <p:nvPr/>
        </p:nvSpPr>
        <p:spPr>
          <a:xfrm>
            <a:off x="8702745" y="618646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E5CB3401-FB04-4583-AF06-0CFBFB6D7B2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BB637675-0989-49E6-A301-22A92271632E}"/>
              </a:ext>
            </a:extLst>
          </p:cNvPr>
          <p:cNvSpPr txBox="1">
            <a:spLocks/>
          </p:cNvSpPr>
          <p:nvPr/>
        </p:nvSpPr>
        <p:spPr>
          <a:xfrm>
            <a:off x="6447304" y="2678489"/>
            <a:ext cx="4638278" cy="29807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 реестре более 40</a:t>
            </a:r>
          </a:p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роблема совместимости </a:t>
            </a:r>
          </a:p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граничение по использованию</a:t>
            </a:r>
          </a:p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«Новые продукты» на рынке</a:t>
            </a:r>
          </a:p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Долгие сроки внедрения и реализации проектов.</a:t>
            </a:r>
          </a:p>
          <a:p>
            <a:pPr marL="457200" indent="-4572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Ценообразование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3FCF74-C9A9-4DA9-A4F7-0EA4CA200544}"/>
              </a:ext>
            </a:extLst>
          </p:cNvPr>
          <p:cNvSpPr txBox="1"/>
          <p:nvPr/>
        </p:nvSpPr>
        <p:spPr>
          <a:xfrm>
            <a:off x="1719429" y="1362075"/>
            <a:ext cx="81880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/>
              <a:t>                Отечественное программное обеспечение</a:t>
            </a: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5B8DA397-7604-44E4-A576-8EE6787F1F1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9462" name="Picture 6">
            <a:extLst>
              <a:ext uri="{FF2B5EF4-FFF2-40B4-BE49-F238E27FC236}">
                <a16:creationId xmlns:a16="http://schemas.microsoft.com/office/drawing/2014/main" id="{57417BE9-C7CD-4CCF-9FA1-A40AB9B5A1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763" y="2294976"/>
            <a:ext cx="3902309" cy="790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5" name="Picture 9">
            <a:extLst>
              <a:ext uri="{FF2B5EF4-FFF2-40B4-BE49-F238E27FC236}">
                <a16:creationId xmlns:a16="http://schemas.microsoft.com/office/drawing/2014/main" id="{388E919A-E547-43CE-B361-2803DF2C93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4224" y="3800285"/>
            <a:ext cx="1914525" cy="1352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7" name="Picture 11">
            <a:extLst>
              <a:ext uri="{FF2B5EF4-FFF2-40B4-BE49-F238E27FC236}">
                <a16:creationId xmlns:a16="http://schemas.microsoft.com/office/drawing/2014/main" id="{A825E74A-28A1-4F38-B432-AA91C75140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763" y="3284023"/>
            <a:ext cx="3202258" cy="977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9" name="Picture 13">
            <a:extLst>
              <a:ext uri="{FF2B5EF4-FFF2-40B4-BE49-F238E27FC236}">
                <a16:creationId xmlns:a16="http://schemas.microsoft.com/office/drawing/2014/main" id="{914D99A3-5EF8-4F4A-9AB5-F49EFEAFA6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102" y="4191154"/>
            <a:ext cx="3883647" cy="1076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72" name="Picture 16">
            <a:extLst>
              <a:ext uri="{FF2B5EF4-FFF2-40B4-BE49-F238E27FC236}">
                <a16:creationId xmlns:a16="http://schemas.microsoft.com/office/drawing/2014/main" id="{3F155A72-7259-4190-91AA-FD0DD073D6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649" y="5210343"/>
            <a:ext cx="3883647" cy="1135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66668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9599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9003"/>
            <a:ext cx="12192000" cy="6916005"/>
          </a:xfrm>
        </p:spPr>
      </p:pic>
      <p:graphicFrame>
        <p:nvGraphicFramePr>
          <p:cNvPr id="18" name="Объект 5">
            <a:extLst>
              <a:ext uri="{FF2B5EF4-FFF2-40B4-BE49-F238E27FC236}">
                <a16:creationId xmlns:a16="http://schemas.microsoft.com/office/drawing/2014/main" id="{D3D65629-5DFC-4E43-A07A-8AC06B5BFA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65680109"/>
              </p:ext>
            </p:extLst>
          </p:nvPr>
        </p:nvGraphicFramePr>
        <p:xfrm>
          <a:off x="1219200" y="1822087"/>
          <a:ext cx="9687339" cy="4512450"/>
        </p:xfrm>
        <a:graphic>
          <a:graphicData uri="http://schemas.openxmlformats.org/drawingml/2006/table">
            <a:tbl>
              <a:tblPr firstRow="1" firstCol="1" bandRow="1">
                <a:tableStyleId>{C083E6E3-FA7D-4D7B-A595-EF9225AFEA82}</a:tableStyleId>
              </a:tblPr>
              <a:tblGrid>
                <a:gridCol w="96873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53850">
                <a:tc>
                  <a:txBody>
                    <a:bodyPr/>
                    <a:lstStyle/>
                    <a:p>
                      <a:pPr marL="285750" indent="-2857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ru-RU" sz="16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Реализация современной</a:t>
                      </a:r>
                      <a:r>
                        <a:rPr lang="ru-RU" sz="1600" b="0" baseline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отказоустойчивой и </a:t>
                      </a:r>
                      <a:r>
                        <a:rPr lang="ru-RU" sz="1600" b="0" baseline="0" dirty="0" err="1">
                          <a:effectLst/>
                          <a:latin typeface="+mn-lt"/>
                          <a:cs typeface="Arial" panose="020B0604020202020204" pitchFamily="34" charset="0"/>
                        </a:rPr>
                        <a:t>катастрофоустойчивой</a:t>
                      </a:r>
                      <a:r>
                        <a:rPr lang="ru-RU" sz="1600" b="0" baseline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виртуальной инфраструктуры (вычислительной, сетевой, хранения данных) без привлечения иностранных решений. </a:t>
                      </a:r>
                      <a:endParaRPr lang="en-US" sz="1600" b="0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</a:pPr>
                      <a:r>
                        <a:rPr lang="ru-RU" sz="16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     Возможность создания </a:t>
                      </a:r>
                      <a:r>
                        <a:rPr lang="ru-RU" sz="16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программно-конфигурируемых ЦОД</a:t>
                      </a:r>
                      <a:endParaRPr lang="ru-RU" sz="1600" b="1" dirty="0"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0739" marR="60739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0950">
                <a:tc>
                  <a:txBody>
                    <a:bodyPr/>
                    <a:lstStyle/>
                    <a:p>
                      <a:pPr marL="285750" indent="-2857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ru-RU" sz="16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Создание программно-</a:t>
                      </a:r>
                      <a:r>
                        <a:rPr lang="ru-RU" sz="1600" b="0" baseline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определяемых систем хранения данных </a:t>
                      </a:r>
                      <a:r>
                        <a:rPr lang="ru-RU" sz="1600" b="1" baseline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ПО СХД</a:t>
                      </a:r>
                    </a:p>
                    <a:p>
                      <a:pPr marL="285750" indent="-2857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ru-RU" sz="1600" b="0" baseline="0" dirty="0"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Создание </a:t>
                      </a:r>
                      <a:r>
                        <a:rPr lang="ru-RU" sz="1600" b="1" baseline="0" dirty="0"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защищенной </a:t>
                      </a:r>
                      <a:r>
                        <a:rPr lang="en-US" sz="1600" b="1" baseline="0" dirty="0"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VDI</a:t>
                      </a:r>
                      <a:r>
                        <a:rPr lang="en-US" sz="1600" b="0" baseline="0" dirty="0"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baseline="0" dirty="0"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инфраструктуры. Системное ПО тонкого клиента.</a:t>
                      </a:r>
                      <a:endParaRPr lang="ru-RU" sz="1600" b="0" dirty="0"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0739" marR="60739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0950">
                <a:tc>
                  <a:txBody>
                    <a:bodyPr/>
                    <a:lstStyle/>
                    <a:p>
                      <a:pPr marL="285750" indent="-2857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ru-RU" sz="16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Создание «коробочных» </a:t>
                      </a:r>
                      <a:r>
                        <a:rPr lang="ru-RU" sz="1600" b="1" dirty="0" err="1">
                          <a:effectLst/>
                          <a:latin typeface="+mn-lt"/>
                          <a:cs typeface="Arial" panose="020B0604020202020204" pitchFamily="34" charset="0"/>
                        </a:rPr>
                        <a:t>гиперконвергентных</a:t>
                      </a:r>
                      <a:r>
                        <a:rPr lang="ru-RU" sz="16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решений для развертывания и наращивания виртуальной инфраструктуры</a:t>
                      </a:r>
                      <a:endParaRPr lang="ru-RU" sz="1600" b="0" dirty="0"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0739" marR="60739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53850">
                <a:tc>
                  <a:txBody>
                    <a:bodyPr/>
                    <a:lstStyle/>
                    <a:p>
                      <a:pPr marL="285750" indent="-2857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ru-RU" sz="16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Использование виртуализации как средства для адаптации устаревших операционных систем и/или других программных продуктов к новому аппаратному обеспечению с дополнительными возможностями по управлению, администрированию и контролю</a:t>
                      </a:r>
                      <a:endParaRPr lang="ru-RU" sz="1600" b="0" dirty="0"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0739" marR="60739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0950">
                <a:tc>
                  <a:txBody>
                    <a:bodyPr/>
                    <a:lstStyle/>
                    <a:p>
                      <a:pPr marL="285750" indent="-2857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ru-RU" sz="16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Использование виртуализации для обеспечения однородного управляемого ландшафта АРМ в организациях с большим количеством персонала и рабочих мест</a:t>
                      </a:r>
                      <a:endParaRPr lang="ru-RU" sz="1600" b="0" dirty="0"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0739" marR="60739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60950">
                <a:tc>
                  <a:txBody>
                    <a:bodyPr/>
                    <a:lstStyle/>
                    <a:p>
                      <a:pPr marL="285750" indent="-2857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ru-RU" sz="16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Создание решения для централизации ИТ-инфраструктуры в организациях с большими филиальными сетями </a:t>
                      </a:r>
                      <a:endParaRPr lang="ru-RU" sz="1600" b="0" dirty="0"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0739" marR="60739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0950">
                <a:tc>
                  <a:txBody>
                    <a:bodyPr/>
                    <a:lstStyle/>
                    <a:p>
                      <a:pPr marL="285750" indent="-2857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ru-RU" sz="16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Возможность интеграции продуктов различных производителей для работы в составе виртуализации в программных</a:t>
                      </a:r>
                      <a:r>
                        <a:rPr lang="ru-RU" sz="1600" b="0" baseline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контейнерах для решения специфических задач</a:t>
                      </a:r>
                      <a:endParaRPr lang="ru-RU" sz="1600" b="0" dirty="0"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0739" marR="60739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A59CE656-2C69-466F-82DF-31CFEB292CD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68" y="233072"/>
            <a:ext cx="1460727" cy="567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4426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21157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916005"/>
          </a:xfrm>
        </p:spPr>
      </p:pic>
      <p:pic>
        <p:nvPicPr>
          <p:cNvPr id="6" name="Рисунок 5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68" y="233072"/>
            <a:ext cx="1460727" cy="567791"/>
          </a:xfrm>
          <a:prstGeom prst="rect">
            <a:avLst/>
          </a:prstGeom>
        </p:spPr>
      </p:pic>
      <p:sp>
        <p:nvSpPr>
          <p:cNvPr id="21" name="Прямоугольник 20"/>
          <p:cNvSpPr/>
          <p:nvPr>
            <p:custDataLst>
              <p:tags r:id="rId6"/>
            </p:custDataLst>
          </p:nvPr>
        </p:nvSpPr>
        <p:spPr>
          <a:xfrm>
            <a:off x="529804" y="1103531"/>
            <a:ext cx="110525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/>
              <a:t>                             Системный подход и платформа</a:t>
            </a:r>
          </a:p>
        </p:txBody>
      </p:sp>
      <p:sp>
        <p:nvSpPr>
          <p:cNvPr id="22" name="Прямоугольник 21"/>
          <p:cNvSpPr/>
          <p:nvPr>
            <p:custDataLst>
              <p:tags r:id="rId7"/>
            </p:custDataLst>
          </p:nvPr>
        </p:nvSpPr>
        <p:spPr>
          <a:xfrm>
            <a:off x="632763" y="1663866"/>
            <a:ext cx="1086666" cy="59967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Прямоугольник 24"/>
          <p:cNvSpPr/>
          <p:nvPr>
            <p:custDataLst>
              <p:tags r:id="rId8"/>
            </p:custDataLst>
          </p:nvPr>
        </p:nvSpPr>
        <p:spPr>
          <a:xfrm>
            <a:off x="632763" y="1961164"/>
            <a:ext cx="5720412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dirty="0"/>
              <a:t>Отечественная инфраструктура разработки, прикладное и системное ПО,ОС для серверов и рабочих станций</a:t>
            </a:r>
          </a:p>
          <a:p>
            <a:pPr>
              <a:buClr>
                <a:schemeClr val="accent5"/>
              </a:buClr>
            </a:pPr>
            <a:endParaRPr lang="ru-RU" dirty="0"/>
          </a:p>
          <a:p>
            <a:pPr marL="342900" indent="-3429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dirty="0"/>
              <a:t>  Поддержка аппаратных платформ: x86, x86_64, ARMv7, отечественные "Эльбрус", “ARMv8 (64 бит);</a:t>
            </a:r>
          </a:p>
          <a:p>
            <a:pPr marL="342900" indent="-342900">
              <a:buClr>
                <a:schemeClr val="accent5"/>
              </a:buClr>
              <a:buFont typeface="Calibri" pitchFamily="34" charset="0"/>
              <a:buChar char="―"/>
            </a:pPr>
            <a:endParaRPr lang="ru-RU" dirty="0"/>
          </a:p>
          <a:p>
            <a:pPr marL="342900" indent="-3429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dirty="0"/>
              <a:t> Сертифицированные решения</a:t>
            </a:r>
          </a:p>
          <a:p>
            <a:pPr marL="342900" indent="-342900">
              <a:buClr>
                <a:schemeClr val="accent5"/>
              </a:buClr>
              <a:buFont typeface="Calibri" pitchFamily="34" charset="0"/>
              <a:buChar char="―"/>
            </a:pPr>
            <a:endParaRPr lang="ru-RU" dirty="0"/>
          </a:p>
          <a:p>
            <a:pPr marL="342900" indent="-3429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dirty="0"/>
              <a:t> Совместимость с отечественным</a:t>
            </a:r>
          </a:p>
          <a:p>
            <a:r>
              <a:rPr lang="ru-RU" dirty="0"/>
              <a:t>прикладным и системным ПО</a:t>
            </a:r>
          </a:p>
        </p:txBody>
      </p:sp>
      <p:pic>
        <p:nvPicPr>
          <p:cNvPr id="10262" name="Picture 22" descr="Ð¡Ð¾Ð³Ð»Ð°ÑÐ½Ð¾ IDC, Ð¿ÑÐ¸ÑÐ¾ÑÑ Ð²ÑÑÑÑÐºÐ¸ Ð¾Ñ Ð¿ÑÐ¾ÐµÐºÑÐ¾Ð² VDI ÑÐ¾ÑÑÐ°Ð²Ð¸Ñ 27% Ðº 2023 Ð³">
            <a:extLst>
              <a:ext uri="{FF2B5EF4-FFF2-40B4-BE49-F238E27FC236}">
                <a16:creationId xmlns:a16="http://schemas.microsoft.com/office/drawing/2014/main" id="{20B7D58D-A716-4257-9C84-8F132EF248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028" y="1758401"/>
            <a:ext cx="4875144" cy="3250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89535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916005"/>
          </a:xfrm>
        </p:spPr>
      </p:pic>
      <p:pic>
        <p:nvPicPr>
          <p:cNvPr id="6" name="Рисунок 5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68" y="233072"/>
            <a:ext cx="1460727" cy="567791"/>
          </a:xfrm>
          <a:prstGeom prst="rect">
            <a:avLst/>
          </a:prstGeom>
        </p:spPr>
      </p:pic>
      <p:sp>
        <p:nvSpPr>
          <p:cNvPr id="21" name="Прямоугольник 20"/>
          <p:cNvSpPr/>
          <p:nvPr>
            <p:custDataLst>
              <p:tags r:id="rId6"/>
            </p:custDataLst>
          </p:nvPr>
        </p:nvSpPr>
        <p:spPr>
          <a:xfrm>
            <a:off x="529804" y="1103531"/>
            <a:ext cx="110525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/>
              <a:t>                Совместимость с отечественными средствами защиты</a:t>
            </a:r>
            <a:endParaRPr lang="ru-RU" sz="2800" dirty="0"/>
          </a:p>
        </p:txBody>
      </p:sp>
      <p:sp>
        <p:nvSpPr>
          <p:cNvPr id="22" name="Прямоугольник 21"/>
          <p:cNvSpPr/>
          <p:nvPr>
            <p:custDataLst>
              <p:tags r:id="rId7"/>
            </p:custDataLst>
          </p:nvPr>
        </p:nvSpPr>
        <p:spPr>
          <a:xfrm>
            <a:off x="632763" y="1663866"/>
            <a:ext cx="1086666" cy="59967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5377" name="Picture 17" descr="http://www.kremlinrus.ru/upload/iblock/666/1523258621_u2z05vegzu_logo_blue_2_01.png">
            <a:extLst>
              <a:ext uri="{FF2B5EF4-FFF2-40B4-BE49-F238E27FC236}">
                <a16:creationId xmlns:a16="http://schemas.microsoft.com/office/drawing/2014/main" id="{7CD9A779-D654-4435-B379-758D4AA1F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7777" y="5047026"/>
            <a:ext cx="2521665" cy="1325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79" name="Picture 19" descr="https://ainb39.ru/wp-content/uploads/2017/07/securitycode.jpg">
            <a:extLst>
              <a:ext uri="{FF2B5EF4-FFF2-40B4-BE49-F238E27FC236}">
                <a16:creationId xmlns:a16="http://schemas.microsoft.com/office/drawing/2014/main" id="{5CAFD620-E792-44E1-A2C0-2470F15CC5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922" y="5249767"/>
            <a:ext cx="2521665" cy="1014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81" name="Picture 21" descr="http://www.tadviser.ru/images/f/ff/Logo_%D0%B0%D0%BD%D0%BA%D0%B0%D0%B4.png">
            <a:extLst>
              <a:ext uri="{FF2B5EF4-FFF2-40B4-BE49-F238E27FC236}">
                <a16:creationId xmlns:a16="http://schemas.microsoft.com/office/drawing/2014/main" id="{FC201F86-681C-4D49-A301-E2BA0DB3DA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4909" y="5454431"/>
            <a:ext cx="2409825" cy="600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83" name="Picture 23" descr="https://mytessa.ru/repo/image/logo/logo%20(3).png">
            <a:extLst>
              <a:ext uri="{FF2B5EF4-FFF2-40B4-BE49-F238E27FC236}">
                <a16:creationId xmlns:a16="http://schemas.microsoft.com/office/drawing/2014/main" id="{954551B2-5927-46F4-BF49-954DBBBA69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5173" y="2131437"/>
            <a:ext cx="2089298" cy="1325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85" name="Picture 25" descr="https://biont.ru/upload/iblock/a3b/a3ba0cc3183313ae751bfe9a895fa156.png">
            <a:extLst>
              <a:ext uri="{FF2B5EF4-FFF2-40B4-BE49-F238E27FC236}">
                <a16:creationId xmlns:a16="http://schemas.microsoft.com/office/drawing/2014/main" id="{31FB21B3-3559-4BB1-A786-FA531B7010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8175" y="1929419"/>
            <a:ext cx="2600325" cy="1950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87" name="Picture 27" descr="https://avatars.mds.yandex.net/get-marketpic/364498/market_i6uazybLqMWYedNtwUlBeg/orig">
            <a:extLst>
              <a:ext uri="{FF2B5EF4-FFF2-40B4-BE49-F238E27FC236}">
                <a16:creationId xmlns:a16="http://schemas.microsoft.com/office/drawing/2014/main" id="{67315701-A6CC-4AAE-84B7-7B10B344D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922" y="2045921"/>
            <a:ext cx="1595503" cy="1595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89" name="Picture 29" descr="https://jobfilter.ru/uploaded_files/images/2018/09/17/1502634/ZpYCscc5Lud6lXxC.png">
            <a:extLst>
              <a:ext uri="{FF2B5EF4-FFF2-40B4-BE49-F238E27FC236}">
                <a16:creationId xmlns:a16="http://schemas.microsoft.com/office/drawing/2014/main" id="{2FFA8566-8819-4458-B61A-DF85C0106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0786" y="3977669"/>
            <a:ext cx="2886075" cy="900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91" name="Picture 31" descr="http://publishernews.ru/images/PressReleases/press_r_DFC062A3-91BC-4426-B931-8739C509C285.jpg">
            <a:extLst>
              <a:ext uri="{FF2B5EF4-FFF2-40B4-BE49-F238E27FC236}">
                <a16:creationId xmlns:a16="http://schemas.microsoft.com/office/drawing/2014/main" id="{25F4CDD4-8F0B-486A-BCC4-C4A0614F1C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5139" y="3662238"/>
            <a:ext cx="1428750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888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16536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916005"/>
          </a:xfrm>
        </p:spPr>
      </p:pic>
      <p:pic>
        <p:nvPicPr>
          <p:cNvPr id="6" name="Рисунок 5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68" y="233072"/>
            <a:ext cx="1460727" cy="567791"/>
          </a:xfrm>
          <a:prstGeom prst="rect">
            <a:avLst/>
          </a:prstGeom>
        </p:spPr>
      </p:pic>
      <p:sp>
        <p:nvSpPr>
          <p:cNvPr id="21" name="Прямоугольник 20"/>
          <p:cNvSpPr/>
          <p:nvPr>
            <p:custDataLst>
              <p:tags r:id="rId6"/>
            </p:custDataLst>
          </p:nvPr>
        </p:nvSpPr>
        <p:spPr>
          <a:xfrm>
            <a:off x="529804" y="1103531"/>
            <a:ext cx="110525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                                                     </a:t>
            </a:r>
            <a:r>
              <a:rPr lang="ru-RU" sz="2400" b="1" dirty="0"/>
              <a:t>Продукты Для различных целей и задач</a:t>
            </a:r>
          </a:p>
        </p:txBody>
      </p:sp>
      <p:sp>
        <p:nvSpPr>
          <p:cNvPr id="22" name="Прямоугольник 21"/>
          <p:cNvSpPr/>
          <p:nvPr>
            <p:custDataLst>
              <p:tags r:id="rId7"/>
            </p:custDataLst>
          </p:nvPr>
        </p:nvSpPr>
        <p:spPr>
          <a:xfrm>
            <a:off x="632763" y="1663866"/>
            <a:ext cx="1086666" cy="59967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Прямоугольник 13"/>
          <p:cNvSpPr/>
          <p:nvPr>
            <p:custDataLst>
              <p:tags r:id="rId8"/>
            </p:custDataLst>
          </p:nvPr>
        </p:nvSpPr>
        <p:spPr>
          <a:xfrm>
            <a:off x="2330835" y="4794067"/>
            <a:ext cx="616808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sz="2000" dirty="0"/>
              <a:t>Тонкие клиенты</a:t>
            </a:r>
          </a:p>
          <a:p>
            <a:pPr marL="457200" indent="-4572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sz="2000" dirty="0"/>
              <a:t>Полноценные АРМ</a:t>
            </a:r>
          </a:p>
          <a:p>
            <a:pPr marL="457200" indent="-4572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sz="2000" dirty="0"/>
              <a:t>Устройство с отечественным процессором</a:t>
            </a:r>
          </a:p>
          <a:p>
            <a:pPr marL="457200" indent="-4572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sz="2000" dirty="0"/>
              <a:t>Разработка доверенной платформы</a:t>
            </a:r>
          </a:p>
          <a:p>
            <a:pPr marL="457200" indent="-4572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sz="2000" dirty="0"/>
              <a:t>Использование в составе сертифицированных ПАК</a:t>
            </a:r>
          </a:p>
        </p:txBody>
      </p:sp>
      <p:pic>
        <p:nvPicPr>
          <p:cNvPr id="12318" name="Picture 30" descr="https://assets.tonk.ru/thumbnails/6c/6cffbb17f332e858ac3848ec5d0f0802.jpg">
            <a:extLst>
              <a:ext uri="{FF2B5EF4-FFF2-40B4-BE49-F238E27FC236}">
                <a16:creationId xmlns:a16="http://schemas.microsoft.com/office/drawing/2014/main" id="{2C0E7CFE-C180-4066-88BA-4848D7B01C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464" y="2063793"/>
            <a:ext cx="6537349" cy="2239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04382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xJRPjljk6RIz_VffBZ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2PpJuwLBk.qTVX7a.In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w16Bc7m02VJ4Yekau2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k2ecuHnEKPyw_16DyJ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4kLbd1X0qXnRz0WOF67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.tm5CuqU6.vbY9ZL.M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bJcjW95kWRRpoLf4o8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k2ecuHnEKPyw_16DyJ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4kLbd1X0qXnRz0WOF67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.tm5CuqU6.vbY9ZL.Mr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bJcjW95kWRRpoLf4o8c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k2ecuHnEKPyw_16DyJ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4kLbd1X0qXnRz0WOF67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.tm5CuqU6.vbY9ZL.Mr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bJcjW95kWRRpoLf4o8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k2ecuHnEKPyw_16DyJ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ns5cR6KkKslS7odM_8D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4kLbd1X0qXnRz0WOF67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.tm5CuqU6.vbY9ZL.Mr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k2ecuHnEKPyw_16DyJ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4kLbd1X0qXnRz0WOF67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.tm5CuqU6.vbY9ZL.Mr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A0iZHaEqNa7rrrTyfJ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bJcjW95kWRRpoLf4o8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TarDGGY06b6IwXUvK5_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D67Q0q_UmUT0277qCyy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k2ecuHnEKPyw_16DyJ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4kLbd1X0qXnRz0WOF67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.tm5CuqU6.vbY9ZL.Mr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A0iZHaEqNa7rrrTyfJ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bJcjW95kWRRpoLf4o8c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k2ecuHnEKPyw_16DyJO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4kLbd1X0qXnRz0WOF67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.tm5CuqU6.vbY9ZL.Mr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A0iZHaEqNa7rrrTyf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0KrQd9Gky2sLYOPHvBl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bJcjW95kWRRpoLf4o8c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TarDGGY06b6IwXUvK5_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nBawnRLECC7jJC3P_Y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lFl8FzDE68p.DjwnXI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z4KIRjW0qOADUcouLE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wVo7OwGUG2xc1YliAUW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1</TotalTime>
  <Words>329</Words>
  <Application>Microsoft Office PowerPoint</Application>
  <PresentationFormat>Широкоэкранный</PresentationFormat>
  <Paragraphs>62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8" baseType="lpstr">
      <vt:lpstr>Arial</vt:lpstr>
      <vt:lpstr>Calibri</vt:lpstr>
      <vt:lpstr>Calibri Light</vt:lpstr>
      <vt:lpstr>Segoe UI</vt:lpstr>
      <vt:lpstr>Segoe UI Semibold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Espire</dc:creator>
  <cp:lastModifiedBy>Александр Бабушкин</cp:lastModifiedBy>
  <cp:revision>74</cp:revision>
  <dcterms:created xsi:type="dcterms:W3CDTF">2017-09-20T07:23:24Z</dcterms:created>
  <dcterms:modified xsi:type="dcterms:W3CDTF">2019-09-09T11:28:20Z</dcterms:modified>
</cp:coreProperties>
</file>